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8" r:id="rId1"/>
    <p:sldMasterId id="2147483672" r:id="rId2"/>
  </p:sldMasterIdLst>
  <p:notesMasterIdLst>
    <p:notesMasterId r:id="rId11"/>
  </p:notesMasterIdLst>
  <p:sldIdLst>
    <p:sldId id="257" r:id="rId3"/>
    <p:sldId id="258" r:id="rId4"/>
    <p:sldId id="259" r:id="rId5"/>
    <p:sldId id="265" r:id="rId6"/>
    <p:sldId id="266" r:id="rId7"/>
    <p:sldId id="267" r:id="rId8"/>
    <p:sldId id="268" r:id="rId9"/>
    <p:sldId id="262" r:id="rId10"/>
  </p:sldIdLst>
  <p:sldSz cx="5327650" cy="7559675"/>
  <p:notesSz cx="6797675" cy="9926638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12" autoAdjust="0"/>
  </p:normalViewPr>
  <p:slideViewPr>
    <p:cSldViewPr snapToGrid="0">
      <p:cViewPr varScale="1">
        <p:scale>
          <a:sx n="62" d="100"/>
          <a:sy n="62" d="100"/>
        </p:scale>
        <p:origin x="21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FBAED0-B7BB-4620-BA1D-AA83CB04042C}" type="datetimeFigureOut">
              <a:rPr lang="da-DK" smtClean="0"/>
              <a:t>16-05-2022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19325" y="1241425"/>
            <a:ext cx="23590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1D2092-2DF3-45F4-ABBA-4E238AEE939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3984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1pPr>
    <a:lvl2pPr marL="351450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2pPr>
    <a:lvl3pPr marL="70289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3pPr>
    <a:lvl4pPr marL="105434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4pPr>
    <a:lvl5pPr marL="140579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5pPr>
    <a:lvl6pPr marL="1757248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6pPr>
    <a:lvl7pPr marL="2108698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7pPr>
    <a:lvl8pPr marL="2460147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8pPr>
    <a:lvl9pPr marL="2811597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.tm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23.bin"/><Relationship Id="rId9" Type="http://schemas.openxmlformats.org/officeDocument/2006/relationships/image" Target="../media/image6.tmp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9.tmp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8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tmp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37.bin"/><Relationship Id="rId9" Type="http://schemas.openxmlformats.org/officeDocument/2006/relationships/image" Target="../media/image6.tmp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tmp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8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Print sel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762327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FDEAD167-5025-47D0-B666-BD93182E420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76198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92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1460DE6-1604-4AAD-9E47-F80F3C930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BED2304-2C10-4315-85EC-584CA0E6F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46355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76041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106863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6724650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</p:spTree>
    <p:extLst>
      <p:ext uri="{BB962C8B-B14F-4D97-AF65-F5344CB8AC3E}">
        <p14:creationId xmlns:p14="http://schemas.microsoft.com/office/powerpoint/2010/main" val="2821763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142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78CC1397-58CE-4798-9640-6E5B06067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7"/>
            <a:ext cx="4410239" cy="436561"/>
          </a:xfrm>
        </p:spPr>
        <p:txBody>
          <a:bodyPr vert="horz"/>
          <a:lstStyle>
            <a:lvl1pPr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 descr="Underoverskrift">
            <a:extLst>
              <a:ext uri="{FF2B5EF4-FFF2-40B4-BE49-F238E27FC236}">
                <a16:creationId xmlns:a16="http://schemas.microsoft.com/office/drawing/2014/main" id="{08A2598C-40FA-455D-8C92-C76B3FF9D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962018"/>
            <a:ext cx="4415292" cy="36989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+mn-lt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 descr="Tekst">
            <a:extLst>
              <a:ext uri="{FF2B5EF4-FFF2-40B4-BE49-F238E27FC236}">
                <a16:creationId xmlns:a16="http://schemas.microsoft.com/office/drawing/2014/main" id="{2EDCA024-F74B-4BB6-B1CD-FC6E58FAF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1341438"/>
            <a:ext cx="4420036" cy="1544637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3341688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3786978"/>
            <a:ext cx="4420036" cy="3130129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2488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ekst i 2 spalter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824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en spalte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256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1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007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8F01FA-D2FA-4929-BDC2-F7531EF06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23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8F01FA-D2FA-4929-BDC2-F7531EF065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Tekst">
            <a:extLst>
              <a:ext uri="{FF2B5EF4-FFF2-40B4-BE49-F238E27FC236}">
                <a16:creationId xmlns:a16="http://schemas.microsoft.com/office/drawing/2014/main" id="{55466EFF-7AD8-4FF9-A3BF-C2D700544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6"/>
            <a:ext cx="4420458" cy="1997074"/>
          </a:xfrm>
        </p:spPr>
        <p:txBody>
          <a:bodyPr vert="horz"/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titel eller cita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6C5B4553-FAB7-41D4-811F-DDBC9C302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Tekst">
            <a:extLst>
              <a:ext uri="{FF2B5EF4-FFF2-40B4-BE49-F238E27FC236}">
                <a16:creationId xmlns:a16="http://schemas.microsoft.com/office/drawing/2014/main" id="{8541E840-D4F6-4855-868B-2D9396B96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Pladsholder til tekst 14" descr="Underoverskrift">
            <a:extLst>
              <a:ext uri="{FF2B5EF4-FFF2-40B4-BE49-F238E27FC236}">
                <a16:creationId xmlns:a16="http://schemas.microsoft.com/office/drawing/2014/main" id="{572FD75F-B6F5-499F-B8FB-5C5C6DC1D7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771775"/>
            <a:ext cx="2205458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23" name="Pladsholder til tekst 22" descr="Tekst">
            <a:extLst>
              <a:ext uri="{FF2B5EF4-FFF2-40B4-BE49-F238E27FC236}">
                <a16:creationId xmlns:a16="http://schemas.microsoft.com/office/drawing/2014/main" id="{CE19CAB7-ECAA-4491-81AE-3BFE1245B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346449"/>
            <a:ext cx="2205037" cy="33305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5" name="Pladsholder til billede 24">
            <a:extLst>
              <a:ext uri="{FF2B5EF4-FFF2-40B4-BE49-F238E27FC236}">
                <a16:creationId xmlns:a16="http://schemas.microsoft.com/office/drawing/2014/main" id="{AD9B2EB5-1FC2-4D19-8D04-1C4FCB44C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17850" y="2771775"/>
            <a:ext cx="1771650" cy="301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27" name="Pladsholder til tekst 26" descr="Billede tekst">
            <a:extLst>
              <a:ext uri="{FF2B5EF4-FFF2-40B4-BE49-F238E27FC236}">
                <a16:creationId xmlns:a16="http://schemas.microsoft.com/office/drawing/2014/main" id="{08C8777B-9D05-4465-A338-E57B8F79D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7850" y="5930900"/>
            <a:ext cx="1766888" cy="74612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BACEC15C-B5F3-4800-9C0C-0D321337878E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5625D6EA-2C93-45FF-9DD7-49032E2AE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CB9898E-7E96-49AE-B6DB-57E857C3D4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0F927532-91D2-46AF-BB8B-D025E85D85EF}"/>
              </a:ext>
            </a:extLst>
          </p:cNvPr>
          <p:cNvSpPr txBox="1"/>
          <p:nvPr userDrawn="1"/>
        </p:nvSpPr>
        <p:spPr>
          <a:xfrm>
            <a:off x="5506226" y="27808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5F2E122-1133-4EB1-AEC6-054804758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331254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445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F1096C-ADDE-415E-8369-54D689E5E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039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3F1096C-ADDE-415E-8369-54D689E5E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901543E-350E-4F90-969F-7C29797F3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80730170-CF45-4E3C-8DCC-9D00C3FC7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36CE1B84-20F1-4A82-83FD-225D3BAF53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613" y="452438"/>
            <a:ext cx="4432300" cy="5783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9" name="Pladsholder til tekst 26" descr="Billede tekst">
            <a:extLst>
              <a:ext uri="{FF2B5EF4-FFF2-40B4-BE49-F238E27FC236}">
                <a16:creationId xmlns:a16="http://schemas.microsoft.com/office/drawing/2014/main" id="{0E1BA063-9103-46BF-ABE8-32C73DD8E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6238875"/>
            <a:ext cx="1766888" cy="438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B1598F84-E921-48F4-949E-82FF925040C0}"/>
              </a:ext>
            </a:extLst>
          </p:cNvPr>
          <p:cNvSpPr txBox="1"/>
          <p:nvPr userDrawn="1"/>
        </p:nvSpPr>
        <p:spPr>
          <a:xfrm>
            <a:off x="5506226" y="4567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FED81D8-1722-4388-898F-296CFCDB0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98844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2108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518A4E-1910-458C-8C58-720D2D26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506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7518A4E-1910-458C-8C58-720D2D264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0705BF5D-AC2F-43E1-9CCD-4F280070E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2439"/>
            <a:ext cx="4420458" cy="1312862"/>
          </a:xfrm>
        </p:spPr>
        <p:txBody>
          <a:bodyPr vert="horz"/>
          <a:lstStyle>
            <a:lvl1pPr>
              <a:defRPr/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291F0D0-958C-4743-8A60-87DD116BB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2C229279-D771-4CDD-9DD8-3B5B558C0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4" descr="Underoverskrift">
            <a:extLst>
              <a:ext uri="{FF2B5EF4-FFF2-40B4-BE49-F238E27FC236}">
                <a16:creationId xmlns:a16="http://schemas.microsoft.com/office/drawing/2014/main" id="{44FA1D0C-3368-445A-9DC8-F3A36F17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451100"/>
            <a:ext cx="2653133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3" name="Pladsholder til tekst 22" descr="Tekst">
            <a:extLst>
              <a:ext uri="{FF2B5EF4-FFF2-40B4-BE49-F238E27FC236}">
                <a16:creationId xmlns:a16="http://schemas.microsoft.com/office/drawing/2014/main" id="{E758230C-1877-4B00-924C-8F5CEA0CDB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019424"/>
            <a:ext cx="2652627" cy="3651251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5" name="Pladsholder til tekst 14" descr="Note">
            <a:extLst>
              <a:ext uri="{FF2B5EF4-FFF2-40B4-BE49-F238E27FC236}">
                <a16:creationId xmlns:a16="http://schemas.microsoft.com/office/drawing/2014/main" id="{B12981DA-EC10-4CDD-A46E-E2C1840A97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0444" y="3016250"/>
            <a:ext cx="1331912" cy="16414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Skriv </a:t>
            </a:r>
            <a:r>
              <a:rPr lang="da-DK" dirty="0" err="1"/>
              <a:t>evt</a:t>
            </a:r>
            <a:r>
              <a:rPr lang="da-DK" dirty="0"/>
              <a:t> not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6D12485-9359-4E47-BB45-D73A7EB1E44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C12CA3F0-5FBF-4C3C-900F-E48D00BF64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3B2AC151-8072-45CA-A595-A77E95195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9389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292352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3" y="6674017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45CDE3A3-B9CC-4763-980F-138417AD3F0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156CB91-BE36-4706-AF02-4327BCDE01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50AD1CD9-B606-404B-A848-DF5A83DCF15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0368FCD9-5750-4685-8B49-B0BB770280CF}"/>
              </a:ext>
            </a:extLst>
          </p:cNvPr>
          <p:cNvSpPr txBox="1"/>
          <p:nvPr userDrawn="1"/>
        </p:nvSpPr>
        <p:spPr>
          <a:xfrm>
            <a:off x="55062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B2698D2C-9074-46A0-A27D-EE2EE586F0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099000"/>
            <a:ext cx="304721" cy="193238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033AD453-4430-4A9B-B62D-2B0196DFB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454978"/>
            <a:ext cx="1151748" cy="303727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5FB0908-A735-499E-926B-C0A59987A185}"/>
              </a:ext>
            </a:extLst>
          </p:cNvPr>
          <p:cNvSpPr txBox="1"/>
          <p:nvPr userDrawn="1"/>
        </p:nvSpPr>
        <p:spPr>
          <a:xfrm>
            <a:off x="5506226" y="6787561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860766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506349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4" y="6674017"/>
            <a:ext cx="1223181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024DF76-747F-43B1-9B83-04D69806C7EB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E6D5EF-1A59-49BF-9B46-0A20ED627F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CD84D0C1-CAA0-470C-98BA-58812E71051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94603116-7790-4D3A-B5C9-452DE5DEFDAF}"/>
              </a:ext>
            </a:extLst>
          </p:cNvPr>
          <p:cNvSpPr txBox="1"/>
          <p:nvPr userDrawn="1"/>
        </p:nvSpPr>
        <p:spPr>
          <a:xfrm>
            <a:off x="5506226" y="67780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32995549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Til ty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798419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FDEAD167-5025-47D0-B666-BD93182E420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2975085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Print sel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400915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6813602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490537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accent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668496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BD45AA8D-31A2-484A-B6D2-6D38138ECCC4}"/>
              </a:ext>
            </a:extLst>
          </p:cNvPr>
          <p:cNvSpPr txBox="1"/>
          <p:nvPr userDrawn="1"/>
        </p:nvSpPr>
        <p:spPr>
          <a:xfrm>
            <a:off x="5506226" y="66400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6" name="Pladsholder til tekst 5" descr="Institutionsnavn">
            <a:extLst>
              <a:ext uri="{FF2B5EF4-FFF2-40B4-BE49-F238E27FC236}">
                <a16:creationId xmlns:a16="http://schemas.microsoft.com/office/drawing/2014/main" id="{30A2C289-FCE7-4D67-AD6B-4842F8F096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449263"/>
            <a:ext cx="3105150" cy="246505"/>
          </a:xfrm>
        </p:spPr>
        <p:txBody>
          <a:bodyPr>
            <a:normAutofit/>
          </a:bodyPr>
          <a:lstStyle>
            <a:lvl1pPr marL="0" indent="0">
              <a:buNone/>
              <a:defRPr sz="850">
                <a:solidFill>
                  <a:schemeClr val="accent1"/>
                </a:solidFill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18549183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Til try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07434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6813602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490537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accent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668496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BD45AA8D-31A2-484A-B6D2-6D38138ECCC4}"/>
              </a:ext>
            </a:extLst>
          </p:cNvPr>
          <p:cNvSpPr txBox="1"/>
          <p:nvPr userDrawn="1"/>
        </p:nvSpPr>
        <p:spPr>
          <a:xfrm>
            <a:off x="5506226" y="66400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6" name="Pladsholder til tekst 5" descr="Institutionsnavn">
            <a:extLst>
              <a:ext uri="{FF2B5EF4-FFF2-40B4-BE49-F238E27FC236}">
                <a16:creationId xmlns:a16="http://schemas.microsoft.com/office/drawing/2014/main" id="{30A2C289-FCE7-4D67-AD6B-4842F8F096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449263"/>
            <a:ext cx="3105150" cy="246505"/>
          </a:xfrm>
        </p:spPr>
        <p:txBody>
          <a:bodyPr>
            <a:normAutofit/>
          </a:bodyPr>
          <a:lstStyle>
            <a:lvl1pPr marL="0" indent="0">
              <a:buNone/>
              <a:defRPr sz="850">
                <a:solidFill>
                  <a:schemeClr val="accent1"/>
                </a:solidFill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23094007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596900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6C0F85F-6650-4C69-BB84-B040C6B8FF5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0BFEA856-7A50-48DB-A279-C1D0CEEA853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4B56463F-7F39-4E34-BAE2-597031C9C02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30AB46E-00E4-44C1-95E4-A11353868955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CA4B41A2-D1DA-41C4-A89B-26BE0E4AF0B2}"/>
              </a:ext>
            </a:extLst>
          </p:cNvPr>
          <p:cNvSpPr txBox="1"/>
          <p:nvPr userDrawn="1"/>
        </p:nvSpPr>
        <p:spPr>
          <a:xfrm>
            <a:off x="55062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162B2D2-BEED-49CB-85F6-7348E5D4223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584775"/>
            <a:ext cx="304721" cy="193238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5D8E59BD-0D6E-4FED-80C6-61EACD000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393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12836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B5B94DEA-4373-4F72-A4F1-24D8624B7B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8DF903F-12FC-4E5C-9310-377BC2724C82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2432428-4062-41BF-945A-1BE85AC43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379F9B6-BAE9-4920-83B6-0713470A033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B09F6B29-8AF8-4FF4-BF39-4DB202333FB8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A45E2683-CC7C-4840-820C-7E88AABBE515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10402921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00973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D21F7EBD-E4B5-4254-960C-A40EECEE51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F9BA47E-9AF6-44CA-9FF4-34825C2133E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2C99883-D185-407C-A6FE-864EE91F27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2B3490F-DD58-47F0-92EB-03DCFED9A9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F512C5D-4AC3-478E-A0CA-E4A822EBF35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303FBDD3-EE7B-4849-8678-29ECC797270B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585701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791200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233295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7298845-F3B1-4AF3-A259-043605EFE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4229100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675" y="1331913"/>
            <a:ext cx="4879975" cy="2447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55062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4931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 tekst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18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E37FD1B6-ADF6-4E8D-A453-9185455147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6088" y="455614"/>
            <a:ext cx="4428000" cy="64436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649462D-1D27-4580-BFC4-AA18AA7B3318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D9EFC71-26CD-44A1-9D2F-2187FA9E71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B832704B-8F5E-43A8-9822-5C6FDAB402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CF86DE1E-A24B-460C-8F4B-6D5418D63350}"/>
              </a:ext>
            </a:extLst>
          </p:cNvPr>
          <p:cNvSpPr txBox="1"/>
          <p:nvPr userDrawn="1"/>
        </p:nvSpPr>
        <p:spPr>
          <a:xfrm>
            <a:off x="55062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AF8E48FD-1A53-4A04-8A3F-B1BCD5F8A3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68DE0C3-FC12-4E7A-BCD8-584A2BA9A2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Pladsholder til slidenummer 5" descr="Sidetal">
            <a:extLst>
              <a:ext uri="{FF2B5EF4-FFF2-40B4-BE49-F238E27FC236}">
                <a16:creationId xmlns:a16="http://schemas.microsoft.com/office/drawing/2014/main" id="{ADC6E596-AE44-45F4-AADE-303856138D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51721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baggrund m tekst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90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1BF00A6-A872-40B4-AAAD-0B5FC7026B11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EEDAE68-7A68-41CC-8942-4DA90A90A9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91B98E2-6766-413A-BD1D-5F1BC59B43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078BEE8-632E-4739-BE5B-4C2E63A4F1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4" name="Pladsholder til slidenummer 3" descr="sidetal">
            <a:extLst>
              <a:ext uri="{FF2B5EF4-FFF2-40B4-BE49-F238E27FC236}">
                <a16:creationId xmlns:a16="http://schemas.microsoft.com/office/drawing/2014/main" id="{50E53A68-D406-4CD2-9A84-0730F6A7EC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647EDABB-1D0A-4FE0-A5E8-7831E91A78D8}"/>
              </a:ext>
            </a:extLst>
          </p:cNvPr>
          <p:cNvSpPr txBox="1"/>
          <p:nvPr userDrawn="1"/>
        </p:nvSpPr>
        <p:spPr>
          <a:xfrm>
            <a:off x="5506227" y="160931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41588507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32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349250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378936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58788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3076575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AF612C24-9A68-4B44-88B5-FF683D6F2D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D137EDEF-3FBF-431D-9D12-1C1EBDE5F6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690819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159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46355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76041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106863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6724650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60663A37-D07E-42BD-B62E-2E44955F8F5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A30FE740-6457-4361-B9E7-8E1A8CD0E30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739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87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78CC1397-58CE-4798-9640-6E5B06067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7"/>
            <a:ext cx="4410239" cy="436561"/>
          </a:xfrm>
        </p:spPr>
        <p:txBody>
          <a:bodyPr vert="horz"/>
          <a:lstStyle>
            <a:lvl1pPr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2" name="Pladsholder til tekst 11" descr="underoverskrift">
            <a:extLst>
              <a:ext uri="{FF2B5EF4-FFF2-40B4-BE49-F238E27FC236}">
                <a16:creationId xmlns:a16="http://schemas.microsoft.com/office/drawing/2014/main" id="{08A2598C-40FA-455D-8C92-C76B3FF9D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962018"/>
            <a:ext cx="4415292" cy="36989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+mn-lt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 descr="tekst">
            <a:extLst>
              <a:ext uri="{FF2B5EF4-FFF2-40B4-BE49-F238E27FC236}">
                <a16:creationId xmlns:a16="http://schemas.microsoft.com/office/drawing/2014/main" id="{2EDCA024-F74B-4BB6-B1CD-FC6E58FAF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1341438"/>
            <a:ext cx="4420036" cy="1544637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6" name="Pladsholder til tekst 15" descr="under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3341688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3786978"/>
            <a:ext cx="4420036" cy="3130129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8A496D-82A3-4396-AE63-E88CD1179B6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2A4439CD-6602-4E36-A8F5-FF13537231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271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34350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6C0F85F-6650-4C69-BB84-B040C6B8FF5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0BFEA856-7A50-48DB-A279-C1D0CEEA853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4B56463F-7F39-4E34-BAE2-597031C9C02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30AB46E-00E4-44C1-95E4-A11353868955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CA4B41A2-D1DA-41C4-A89B-26BE0E4AF0B2}"/>
              </a:ext>
            </a:extLst>
          </p:cNvPr>
          <p:cNvSpPr txBox="1"/>
          <p:nvPr userDrawn="1"/>
        </p:nvSpPr>
        <p:spPr>
          <a:xfrm>
            <a:off x="55062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162B2D2-BEED-49CB-85F6-7348E5D4223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584775"/>
            <a:ext cx="304721" cy="193238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5D8E59BD-0D6E-4FED-80C6-61EACD000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8759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ekst i 2 spalter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72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86A3235-593C-4097-B484-487C3F7A101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Pladsholder til slidenummer 5" descr="sidetal">
            <a:extLst>
              <a:ext uri="{FF2B5EF4-FFF2-40B4-BE49-F238E27FC236}">
                <a16:creationId xmlns:a16="http://schemas.microsoft.com/office/drawing/2014/main" id="{65648868-DD56-441C-BD43-F71EB6E7B6B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512007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en spalte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4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1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9BDDF4B2-34ED-4764-9FF0-DC5358B10F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D6006A8-FD0D-4E97-B411-5D7B65BB1E4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44807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8F01FA-D2FA-4929-BDC2-F7531EF06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566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tekst">
            <a:extLst>
              <a:ext uri="{FF2B5EF4-FFF2-40B4-BE49-F238E27FC236}">
                <a16:creationId xmlns:a16="http://schemas.microsoft.com/office/drawing/2014/main" id="{55466EFF-7AD8-4FF9-A3BF-C2D700544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6"/>
            <a:ext cx="4420458" cy="1997074"/>
          </a:xfrm>
        </p:spPr>
        <p:txBody>
          <a:bodyPr vert="horz"/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titel eller citat</a:t>
            </a:r>
          </a:p>
        </p:txBody>
      </p:sp>
      <p:sp>
        <p:nvSpPr>
          <p:cNvPr id="15" name="Pladsholder til tekst 14" descr="underoverskrift">
            <a:extLst>
              <a:ext uri="{FF2B5EF4-FFF2-40B4-BE49-F238E27FC236}">
                <a16:creationId xmlns:a16="http://schemas.microsoft.com/office/drawing/2014/main" id="{572FD75F-B6F5-499F-B8FB-5C5C6DC1D7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771775"/>
            <a:ext cx="2205458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23" name="Pladsholder til tekst 22" descr="tekst">
            <a:extLst>
              <a:ext uri="{FF2B5EF4-FFF2-40B4-BE49-F238E27FC236}">
                <a16:creationId xmlns:a16="http://schemas.microsoft.com/office/drawing/2014/main" id="{CE19CAB7-ECAA-4491-81AE-3BFE1245B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346449"/>
            <a:ext cx="2205037" cy="33305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5" name="Pladsholder til billede 24">
            <a:extLst>
              <a:ext uri="{FF2B5EF4-FFF2-40B4-BE49-F238E27FC236}">
                <a16:creationId xmlns:a16="http://schemas.microsoft.com/office/drawing/2014/main" id="{AD9B2EB5-1FC2-4D19-8D04-1C4FCB44C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17850" y="2771775"/>
            <a:ext cx="1771650" cy="301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27" name="Pladsholder til tekst 26" descr="billede tekst">
            <a:extLst>
              <a:ext uri="{FF2B5EF4-FFF2-40B4-BE49-F238E27FC236}">
                <a16:creationId xmlns:a16="http://schemas.microsoft.com/office/drawing/2014/main" id="{08C8777B-9D05-4465-A338-E57B8F79D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7850" y="5930900"/>
            <a:ext cx="1766888" cy="74612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BACEC15C-B5F3-4800-9C0C-0D321337878E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5625D6EA-2C93-45FF-9DD7-49032E2AE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CB9898E-7E96-49AE-B6DB-57E857C3D4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0F927532-91D2-46AF-BB8B-D025E85D85EF}"/>
              </a:ext>
            </a:extLst>
          </p:cNvPr>
          <p:cNvSpPr txBox="1"/>
          <p:nvPr userDrawn="1"/>
        </p:nvSpPr>
        <p:spPr>
          <a:xfrm>
            <a:off x="5506226" y="27808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5F2E122-1133-4EB1-AEC6-054804758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33125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D4C67D6-7802-42F8-A531-11E2FCE9989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B4A98CB9-4E4D-4ED0-96AC-6BEA7F70DF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849949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F1096C-ADDE-415E-8369-54D689E5E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5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36CE1B84-20F1-4A82-83FD-225D3BAF53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613" y="452438"/>
            <a:ext cx="4432300" cy="5783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9" name="Pladsholder til tekst 26" descr="billede tekst">
            <a:extLst>
              <a:ext uri="{FF2B5EF4-FFF2-40B4-BE49-F238E27FC236}">
                <a16:creationId xmlns:a16="http://schemas.microsoft.com/office/drawing/2014/main" id="{0E1BA063-9103-46BF-ABE8-32C73DD8E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6238875"/>
            <a:ext cx="1766888" cy="438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B1598F84-E921-48F4-949E-82FF925040C0}"/>
              </a:ext>
            </a:extLst>
          </p:cNvPr>
          <p:cNvSpPr txBox="1"/>
          <p:nvPr userDrawn="1"/>
        </p:nvSpPr>
        <p:spPr>
          <a:xfrm>
            <a:off x="5506226" y="4567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FED81D8-1722-4388-898F-296CFCDB0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9884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CB3757F-925F-4889-8521-6B21513018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DA68DF52-D07D-4C24-A55B-7888F53850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942083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518A4E-1910-458C-8C58-720D2D26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437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0705BF5D-AC2F-43E1-9CCD-4F280070E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2439"/>
            <a:ext cx="4420458" cy="1312862"/>
          </a:xfrm>
        </p:spPr>
        <p:txBody>
          <a:bodyPr vert="horz"/>
          <a:lstStyle>
            <a:lvl1pPr>
              <a:defRPr/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2" name="Pladsholder til tekst 14" descr="underoverskrift">
            <a:extLst>
              <a:ext uri="{FF2B5EF4-FFF2-40B4-BE49-F238E27FC236}">
                <a16:creationId xmlns:a16="http://schemas.microsoft.com/office/drawing/2014/main" id="{44FA1D0C-3368-445A-9DC8-F3A36F17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451100"/>
            <a:ext cx="2653133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3" name="Pladsholder til tekst 22" descr="tekst">
            <a:extLst>
              <a:ext uri="{FF2B5EF4-FFF2-40B4-BE49-F238E27FC236}">
                <a16:creationId xmlns:a16="http://schemas.microsoft.com/office/drawing/2014/main" id="{E758230C-1877-4B00-924C-8F5CEA0CDB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019424"/>
            <a:ext cx="2652627" cy="3651251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5" name="Pladsholder til tekst 14" descr="note">
            <a:extLst>
              <a:ext uri="{FF2B5EF4-FFF2-40B4-BE49-F238E27FC236}">
                <a16:creationId xmlns:a16="http://schemas.microsoft.com/office/drawing/2014/main" id="{B12981DA-EC10-4CDD-A46E-E2C1840A97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0444" y="3016250"/>
            <a:ext cx="1331912" cy="16414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Skriv </a:t>
            </a:r>
            <a:r>
              <a:rPr lang="da-DK" dirty="0" err="1"/>
              <a:t>evt</a:t>
            </a:r>
            <a:r>
              <a:rPr lang="da-DK" dirty="0"/>
              <a:t> not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6D12485-9359-4E47-BB45-D73A7EB1E44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C12CA3F0-5FBF-4C3C-900F-E48D00BF64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3B2AC151-8072-45CA-A595-A77E95195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953BC77-2ADD-4091-9081-36C81731DC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20F19442-57ED-42E8-8BE0-10AF2F0CD9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71189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07964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3" y="6674017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45CDE3A3-B9CC-4763-980F-138417AD3F0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 descr="tekst">
            <a:extLst>
              <a:ext uri="{FF2B5EF4-FFF2-40B4-BE49-F238E27FC236}">
                <a16:creationId xmlns:a16="http://schemas.microsoft.com/office/drawing/2014/main" id="{3156CB91-BE36-4706-AF02-4327BCDE01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3" name="Billede 2" descr="tekst">
            <a:extLst>
              <a:ext uri="{FF2B5EF4-FFF2-40B4-BE49-F238E27FC236}">
                <a16:creationId xmlns:a16="http://schemas.microsoft.com/office/drawing/2014/main" id="{50AD1CD9-B606-404B-A848-DF5A83DCF15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1" name="Tekstfelt 10" descr="tekst">
            <a:extLst>
              <a:ext uri="{FF2B5EF4-FFF2-40B4-BE49-F238E27FC236}">
                <a16:creationId xmlns:a16="http://schemas.microsoft.com/office/drawing/2014/main" id="{0368FCD9-5750-4685-8B49-B0BB770280CF}"/>
              </a:ext>
            </a:extLst>
          </p:cNvPr>
          <p:cNvSpPr txBox="1"/>
          <p:nvPr userDrawn="1"/>
        </p:nvSpPr>
        <p:spPr>
          <a:xfrm>
            <a:off x="55062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 descr="tekst">
            <a:extLst>
              <a:ext uri="{FF2B5EF4-FFF2-40B4-BE49-F238E27FC236}">
                <a16:creationId xmlns:a16="http://schemas.microsoft.com/office/drawing/2014/main" id="{B2698D2C-9074-46A0-A27D-EE2EE586F0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099000"/>
            <a:ext cx="304721" cy="193238"/>
          </a:xfrm>
          <a:prstGeom prst="rect">
            <a:avLst/>
          </a:prstGeom>
        </p:spPr>
      </p:pic>
      <p:pic>
        <p:nvPicPr>
          <p:cNvPr id="14" name="Billede 13" descr="tekst">
            <a:extLst>
              <a:ext uri="{FF2B5EF4-FFF2-40B4-BE49-F238E27FC236}">
                <a16:creationId xmlns:a16="http://schemas.microsoft.com/office/drawing/2014/main" id="{033AD453-4430-4A9B-B62D-2B0196DFB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454978"/>
            <a:ext cx="1151748" cy="303727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5FB0908-A735-499E-926B-C0A59987A185}"/>
              </a:ext>
            </a:extLst>
          </p:cNvPr>
          <p:cNvSpPr txBox="1"/>
          <p:nvPr userDrawn="1"/>
        </p:nvSpPr>
        <p:spPr>
          <a:xfrm>
            <a:off x="5506226" y="6787561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810430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964573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4" y="6674017"/>
            <a:ext cx="1223181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024DF76-747F-43B1-9B83-04D69806C7EB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E6D5EF-1A59-49BF-9B46-0A20ED627F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CD84D0C1-CAA0-470C-98BA-58812E71051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94603116-7790-4D3A-B5C9-452DE5DEFDAF}"/>
              </a:ext>
            </a:extLst>
          </p:cNvPr>
          <p:cNvSpPr txBox="1"/>
          <p:nvPr userDrawn="1"/>
        </p:nvSpPr>
        <p:spPr>
          <a:xfrm>
            <a:off x="5506226" y="67780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1287307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9966492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B5B94DEA-4373-4F72-A4F1-24D8624B7B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8DF903F-12FC-4E5C-9310-377BC2724C82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2432428-4062-41BF-945A-1BE85AC43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379F9B6-BAE9-4920-83B6-0713470A033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B09F6B29-8AF8-4FF4-BF39-4DB202333FB8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E9445B1B-0EA0-47B2-9E95-382198E2BA1E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1682069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7755024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D21F7EBD-E4B5-4254-960C-A40EECEE51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F9BA47E-9AF6-44CA-9FF4-34825C2133E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2C99883-D185-407C-A6FE-864EE91F27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2B3490F-DD58-47F0-92EB-03DCFED9A9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F512C5D-4AC3-478E-A0CA-E4A822EBF35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BAA846D0-0F5C-4B8C-8966-934CB78B90BB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84728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791200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567310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4229100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676" y="1331913"/>
            <a:ext cx="4656138" cy="2447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55062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645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 tekst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82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E37FD1B6-ADF6-4E8D-A453-9185455147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6088" y="455614"/>
            <a:ext cx="4428000" cy="64436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5" name="Pladsholder til sidefod 14">
            <a:extLst>
              <a:ext uri="{FF2B5EF4-FFF2-40B4-BE49-F238E27FC236}">
                <a16:creationId xmlns:a16="http://schemas.microsoft.com/office/drawing/2014/main" id="{A891600F-7C55-4C12-8FD6-0B8B22C6B0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16" name="Pladsholder til slidenummer 15" descr="Sidetal">
            <a:extLst>
              <a:ext uri="{FF2B5EF4-FFF2-40B4-BE49-F238E27FC236}">
                <a16:creationId xmlns:a16="http://schemas.microsoft.com/office/drawing/2014/main" id="{D6FF50FB-5108-426B-85A5-F9720EC098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Billede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649462D-1D27-4580-BFC4-AA18AA7B3318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D9EFC71-26CD-44A1-9D2F-2187FA9E71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B832704B-8F5E-43A8-9822-5C6FDAB402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CF86DE1E-A24B-460C-8F4B-6D5418D63350}"/>
              </a:ext>
            </a:extLst>
          </p:cNvPr>
          <p:cNvSpPr txBox="1"/>
          <p:nvPr userDrawn="1"/>
        </p:nvSpPr>
        <p:spPr>
          <a:xfrm>
            <a:off x="55062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AF8E48FD-1A53-4A04-8A3F-B1BCD5F8A3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11239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514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baggrund m tekst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172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ladsholder til sidefod 14">
            <a:extLst>
              <a:ext uri="{FF2B5EF4-FFF2-40B4-BE49-F238E27FC236}">
                <a16:creationId xmlns:a16="http://schemas.microsoft.com/office/drawing/2014/main" id="{A891600F-7C55-4C12-8FD6-0B8B22C6B0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16" name="Pladsholder til slidenummer 15" descr="Sidetal">
            <a:extLst>
              <a:ext uri="{FF2B5EF4-FFF2-40B4-BE49-F238E27FC236}">
                <a16:creationId xmlns:a16="http://schemas.microsoft.com/office/drawing/2014/main" id="{D6FF50FB-5108-426B-85A5-F9720EC098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1BF00A6-A872-40B4-AAAD-0B5FC7026B11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EEDAE68-7A68-41CC-8942-4DA90A90A9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91B98E2-6766-413A-BD1D-5F1BC59B43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96C784FB-AE9F-42F7-B40F-71F0D0FE3319}"/>
              </a:ext>
            </a:extLst>
          </p:cNvPr>
          <p:cNvSpPr txBox="1"/>
          <p:nvPr userDrawn="1"/>
        </p:nvSpPr>
        <p:spPr>
          <a:xfrm>
            <a:off x="5506227" y="1637886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3499817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988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1460DE6-1604-4AAD-9E47-F80F3C930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BED2304-2C10-4315-85EC-584CA0E6F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349250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378936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58788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3076575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</p:spTree>
    <p:extLst>
      <p:ext uri="{BB962C8B-B14F-4D97-AF65-F5344CB8AC3E}">
        <p14:creationId xmlns:p14="http://schemas.microsoft.com/office/powerpoint/2010/main" val="41592987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0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2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 descr="Overskrift"/>
          <p:cNvSpPr>
            <a:spLocks noGrp="1"/>
          </p:cNvSpPr>
          <p:nvPr>
            <p:ph type="title"/>
          </p:nvPr>
        </p:nvSpPr>
        <p:spPr>
          <a:xfrm>
            <a:off x="446041" y="2006701"/>
            <a:ext cx="4436315" cy="1330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 descr="Tekstinformation"/>
          <p:cNvSpPr>
            <a:spLocks noGrp="1"/>
          </p:cNvSpPr>
          <p:nvPr>
            <p:ph type="body" idx="1"/>
          </p:nvPr>
        </p:nvSpPr>
        <p:spPr>
          <a:xfrm>
            <a:off x="433416" y="4219504"/>
            <a:ext cx="4446559" cy="245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63824" y="7120730"/>
            <a:ext cx="1927225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Slide Number Placeholder 5" descr="Sidetal"/>
          <p:cNvSpPr>
            <a:spLocks noGrp="1"/>
          </p:cNvSpPr>
          <p:nvPr>
            <p:ph type="sldNum" sz="quarter" idx="4"/>
          </p:nvPr>
        </p:nvSpPr>
        <p:spPr>
          <a:xfrm>
            <a:off x="4591050" y="7121000"/>
            <a:ext cx="284599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C18AB0-A92B-4F48-9298-3BBCFBB11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0931908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22" imgW="378" imgH="379" progId="TCLayout.ActiveDocument.1">
                  <p:embed/>
                </p:oleObj>
              </mc:Choice>
              <mc:Fallback>
                <p:oleObj name="think-cell Slide" r:id="rId22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C18AB0-A92B-4F48-9298-3BBCFBB11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EC290924-4F1F-493E-9F37-A7BEC224F85E}"/>
              </a:ext>
            </a:extLst>
          </p:cNvPr>
          <p:cNvSpPr/>
          <p:nvPr userDrawn="1"/>
        </p:nvSpPr>
        <p:spPr>
          <a:xfrm>
            <a:off x="0" y="0"/>
            <a:ext cx="532765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2CEA6318-3CAB-48A4-BAE3-3164879F7A07}"/>
              </a:ext>
            </a:extLst>
          </p:cNvPr>
          <p:cNvSpPr/>
          <p:nvPr userDrawn="1"/>
        </p:nvSpPr>
        <p:spPr>
          <a:xfrm>
            <a:off x="0" y="7343775"/>
            <a:ext cx="532765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E1760715-A642-46C6-960A-D665F77DF8AB}"/>
              </a:ext>
            </a:extLst>
          </p:cNvPr>
          <p:cNvSpPr/>
          <p:nvPr userDrawn="1"/>
        </p:nvSpPr>
        <p:spPr>
          <a:xfrm rot="16200000">
            <a:off x="-3672000" y="3671675"/>
            <a:ext cx="7560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19712D57-A9A1-4C30-BEAE-3E2612A61279}"/>
              </a:ext>
            </a:extLst>
          </p:cNvPr>
          <p:cNvSpPr/>
          <p:nvPr userDrawn="1"/>
        </p:nvSpPr>
        <p:spPr>
          <a:xfrm rot="16200000">
            <a:off x="1442925" y="3671675"/>
            <a:ext cx="7560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5540CBDD-1D12-488E-B946-0E850EBB3875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Print Selv</a:t>
            </a:r>
          </a:p>
        </p:txBody>
      </p:sp>
    </p:spTree>
    <p:extLst>
      <p:ext uri="{BB962C8B-B14F-4D97-AF65-F5344CB8AC3E}">
        <p14:creationId xmlns:p14="http://schemas.microsoft.com/office/powerpoint/2010/main" val="2089129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78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6" r:id="rId13"/>
    <p:sldLayoutId id="2147483771" r:id="rId14"/>
    <p:sldLayoutId id="2147483772" r:id="rId15"/>
    <p:sldLayoutId id="2147483773" r:id="rId16"/>
    <p:sldLayoutId id="2147483774" r:id="rId17"/>
    <p:sldLayoutId id="2147483775" r:id="rId18"/>
  </p:sldLayoutIdLst>
  <p:hf hdr="0" ftr="0" dt="0"/>
  <p:txStyles>
    <p:titleStyle>
      <a:lvl1pPr algn="l" defTabSz="532729" rtl="0" eaLnBrk="1" latinLnBrk="0" hangingPunct="1">
        <a:lnSpc>
          <a:spcPct val="90000"/>
        </a:lnSpc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182" indent="-133182" algn="l" defTabSz="532729" rtl="0" eaLnBrk="1" latinLnBrk="0" hangingPunct="1">
        <a:lnSpc>
          <a:spcPct val="90000"/>
        </a:lnSpc>
        <a:spcBef>
          <a:spcPts val="583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9954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65912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93227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9864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65006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73137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997735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264100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1pPr>
      <a:lvl2pPr marL="266365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2pPr>
      <a:lvl3pPr marL="53272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3pPr>
      <a:lvl4pPr marL="79909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06545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33182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59818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864553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13091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>
          <p15:clr>
            <a:srgbClr val="F26B43"/>
          </p15:clr>
        </p15:guide>
        <p15:guide id="2" pos="1674">
          <p15:clr>
            <a:srgbClr val="F26B43"/>
          </p15:clr>
        </p15:guide>
        <p15:guide id="3" pos="1397">
          <p15:clr>
            <a:srgbClr val="F26B43"/>
          </p15:clr>
        </p15:guide>
        <p15:guide id="4" pos="1973">
          <p15:clr>
            <a:srgbClr val="F26B43"/>
          </p15:clr>
        </p15:guide>
        <p15:guide id="5" pos="1118">
          <p15:clr>
            <a:srgbClr val="F26B43"/>
          </p15:clr>
        </p15:guide>
        <p15:guide id="6" pos="2235">
          <p15:clr>
            <a:srgbClr val="F26B43"/>
          </p15:clr>
        </p15:guide>
        <p15:guide id="7" pos="279">
          <p15:clr>
            <a:srgbClr val="F26B43"/>
          </p15:clr>
        </p15:guide>
        <p15:guide id="8" pos="3074">
          <p15:clr>
            <a:srgbClr val="F26B43"/>
          </p15:clr>
        </p15:guide>
        <p15:guide id="9" orient="horz" pos="283">
          <p15:clr>
            <a:srgbClr val="F26B43"/>
          </p15:clr>
        </p15:guide>
        <p15:guide id="10" pos="1542">
          <p15:clr>
            <a:srgbClr val="F26B43"/>
          </p15:clr>
        </p15:guide>
        <p15:guide id="11" pos="1814">
          <p15:clr>
            <a:srgbClr val="F26B43"/>
          </p15:clr>
        </p15:guide>
        <p15:guide id="12" pos="136">
          <p15:clr>
            <a:srgbClr val="F26B43"/>
          </p15:clr>
        </p15:guide>
        <p15:guide id="13" pos="3215">
          <p15:clr>
            <a:srgbClr val="F26B43"/>
          </p15:clr>
        </p15:guide>
        <p15:guide id="14" orient="horz" pos="561">
          <p15:clr>
            <a:srgbClr val="F26B43"/>
          </p15:clr>
        </p15:guide>
        <p15:guide id="15" orient="horz" pos="839">
          <p15:clr>
            <a:srgbClr val="F26B43"/>
          </p15:clr>
        </p15:guide>
        <p15:guide id="16" orient="horz" pos="1116">
          <p15:clr>
            <a:srgbClr val="F26B43"/>
          </p15:clr>
        </p15:guide>
        <p15:guide id="17" orient="horz" pos="3648">
          <p15:clr>
            <a:srgbClr val="F26B43"/>
          </p15:clr>
        </p15:guide>
        <p15:guide id="18" orient="horz" pos="3926">
          <p15:clr>
            <a:srgbClr val="F26B43"/>
          </p15:clr>
        </p15:guide>
        <p15:guide id="19" orient="horz" pos="4206">
          <p15:clr>
            <a:srgbClr val="F26B43"/>
          </p15:clr>
        </p15:guide>
        <p15:guide id="20" orient="horz" pos="4484">
          <p15:clr>
            <a:srgbClr val="F26B43"/>
          </p15:clr>
        </p15:guide>
        <p15:guide id="21" orient="horz" pos="4620">
          <p15:clr>
            <a:srgbClr val="F26B43"/>
          </p15:clr>
        </p15:guide>
        <p15:guide id="22" orient="horz" pos="141">
          <p15:clr>
            <a:srgbClr val="F26B43"/>
          </p15:clr>
        </p15:guide>
        <p15:guide id="23" orient="horz" pos="154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658">
          <p15:clr>
            <a:srgbClr val="F26B43"/>
          </p15:clr>
        </p15:guide>
        <p15:guide id="26" orient="horz" pos="2934">
          <p15:clr>
            <a:srgbClr val="F26B43"/>
          </p15:clr>
        </p15:guide>
        <p15:guide id="27" orient="horz" pos="12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6041" y="2006701"/>
            <a:ext cx="4436315" cy="1330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3416" y="4219504"/>
            <a:ext cx="4446559" cy="245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63824" y="7120730"/>
            <a:ext cx="1927225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91050" y="7121000"/>
            <a:ext cx="284599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C18AB0-A92B-4F48-9298-3BBCFBB11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45130243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think-cell Slide" r:id="rId22" imgW="378" imgH="379" progId="TCLayout.ActiveDocument.1">
                  <p:embed/>
                </p:oleObj>
              </mc:Choice>
              <mc:Fallback>
                <p:oleObj name="think-cell Slide" r:id="rId22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D5FD37F-0132-4A8C-A8D0-3DA17B46D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D045145B-9A9C-4490-8704-07640E845E52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da-DK" sz="800" b="1" dirty="0" err="1">
                <a:latin typeface="Aleo" panose="00000500000000000000" pitchFamily="2" charset="0"/>
              </a:rPr>
              <a:t>Sidetypen</a:t>
            </a:r>
            <a:r>
              <a:rPr lang="da-DK" sz="800" b="1" dirty="0">
                <a:latin typeface="Aleo" panose="00000500000000000000" pitchFamily="2" charset="0"/>
              </a:rPr>
              <a:t>: </a:t>
            </a:r>
            <a:r>
              <a:rPr lang="da-DK" sz="800" b="0" dirty="0">
                <a:latin typeface="Aleo" panose="00000500000000000000" pitchFamily="2" charset="0"/>
              </a:rPr>
              <a:t>Til tryk</a:t>
            </a:r>
          </a:p>
        </p:txBody>
      </p:sp>
    </p:spTree>
    <p:extLst>
      <p:ext uri="{BB962C8B-B14F-4D97-AF65-F5344CB8AC3E}">
        <p14:creationId xmlns:p14="http://schemas.microsoft.com/office/powerpoint/2010/main" val="589721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79" r:id="rId2"/>
    <p:sldLayoutId id="2147483685" r:id="rId3"/>
    <p:sldLayoutId id="2147483686" r:id="rId4"/>
    <p:sldLayoutId id="2147483687" r:id="rId5"/>
    <p:sldLayoutId id="2147483673" r:id="rId6"/>
    <p:sldLayoutId id="2147483706" r:id="rId7"/>
    <p:sldLayoutId id="2147483711" r:id="rId8"/>
    <p:sldLayoutId id="2147483731" r:id="rId9"/>
    <p:sldLayoutId id="2147483746" r:id="rId10"/>
    <p:sldLayoutId id="2147483708" r:id="rId11"/>
    <p:sldLayoutId id="2147483747" r:id="rId12"/>
    <p:sldLayoutId id="2147483777" r:id="rId13"/>
    <p:sldLayoutId id="2147483709" r:id="rId14"/>
    <p:sldLayoutId id="2147483730" r:id="rId15"/>
    <p:sldLayoutId id="2147483710" r:id="rId16"/>
    <p:sldLayoutId id="2147483725" r:id="rId17"/>
    <p:sldLayoutId id="2147483726" r:id="rId18"/>
  </p:sldLayoutIdLst>
  <p:hf hdr="0" ftr="0" dt="0"/>
  <p:txStyles>
    <p:titleStyle>
      <a:lvl1pPr algn="l" defTabSz="532729" rtl="0" eaLnBrk="1" latinLnBrk="0" hangingPunct="1">
        <a:lnSpc>
          <a:spcPct val="90000"/>
        </a:lnSpc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182" indent="-133182" algn="l" defTabSz="532729" rtl="0" eaLnBrk="1" latinLnBrk="0" hangingPunct="1">
        <a:lnSpc>
          <a:spcPct val="90000"/>
        </a:lnSpc>
        <a:spcBef>
          <a:spcPts val="583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9954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65912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93227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9864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65006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73137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997735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264100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1pPr>
      <a:lvl2pPr marL="266365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2pPr>
      <a:lvl3pPr marL="53272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3pPr>
      <a:lvl4pPr marL="79909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06545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33182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59818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864553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13091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 userDrawn="1">
          <p15:clr>
            <a:srgbClr val="F26B43"/>
          </p15:clr>
        </p15:guide>
        <p15:guide id="2" pos="1674" userDrawn="1">
          <p15:clr>
            <a:srgbClr val="F26B43"/>
          </p15:clr>
        </p15:guide>
        <p15:guide id="3" pos="1397" userDrawn="1">
          <p15:clr>
            <a:srgbClr val="F26B43"/>
          </p15:clr>
        </p15:guide>
        <p15:guide id="4" pos="1958" userDrawn="1">
          <p15:clr>
            <a:srgbClr val="F26B43"/>
          </p15:clr>
        </p15:guide>
        <p15:guide id="5" pos="1118" userDrawn="1">
          <p15:clr>
            <a:srgbClr val="F26B43"/>
          </p15:clr>
        </p15:guide>
        <p15:guide id="6" pos="2235" userDrawn="1">
          <p15:clr>
            <a:srgbClr val="F26B43"/>
          </p15:clr>
        </p15:guide>
        <p15:guide id="7" pos="279" userDrawn="1">
          <p15:clr>
            <a:srgbClr val="F26B43"/>
          </p15:clr>
        </p15:guide>
        <p15:guide id="8" pos="3074" userDrawn="1">
          <p15:clr>
            <a:srgbClr val="F26B43"/>
          </p15:clr>
        </p15:guide>
        <p15:guide id="9" orient="horz" pos="283" userDrawn="1">
          <p15:clr>
            <a:srgbClr val="F26B43"/>
          </p15:clr>
        </p15:guide>
        <p15:guide id="10" pos="1542" userDrawn="1">
          <p15:clr>
            <a:srgbClr val="F26B43"/>
          </p15:clr>
        </p15:guide>
        <p15:guide id="11" pos="1814" userDrawn="1">
          <p15:clr>
            <a:srgbClr val="F26B43"/>
          </p15:clr>
        </p15:guide>
        <p15:guide id="12" pos="136" userDrawn="1">
          <p15:clr>
            <a:srgbClr val="F26B43"/>
          </p15:clr>
        </p15:guide>
        <p15:guide id="13" pos="3215" userDrawn="1">
          <p15:clr>
            <a:srgbClr val="F26B43"/>
          </p15:clr>
        </p15:guide>
        <p15:guide id="14" orient="horz" pos="561" userDrawn="1">
          <p15:clr>
            <a:srgbClr val="F26B43"/>
          </p15:clr>
        </p15:guide>
        <p15:guide id="15" orient="horz" pos="839" userDrawn="1">
          <p15:clr>
            <a:srgbClr val="F26B43"/>
          </p15:clr>
        </p15:guide>
        <p15:guide id="16" orient="horz" pos="1116" userDrawn="1">
          <p15:clr>
            <a:srgbClr val="F26B43"/>
          </p15:clr>
        </p15:guide>
        <p15:guide id="17" orient="horz" pos="3648" userDrawn="1">
          <p15:clr>
            <a:srgbClr val="F26B43"/>
          </p15:clr>
        </p15:guide>
        <p15:guide id="18" orient="horz" pos="3926" userDrawn="1">
          <p15:clr>
            <a:srgbClr val="F26B43"/>
          </p15:clr>
        </p15:guide>
        <p15:guide id="19" orient="horz" pos="4206" userDrawn="1">
          <p15:clr>
            <a:srgbClr val="F26B43"/>
          </p15:clr>
        </p15:guide>
        <p15:guide id="20" orient="horz" pos="4484" userDrawn="1">
          <p15:clr>
            <a:srgbClr val="F26B43"/>
          </p15:clr>
        </p15:guide>
        <p15:guide id="21" orient="horz" pos="4620" userDrawn="1">
          <p15:clr>
            <a:srgbClr val="F26B43"/>
          </p15:clr>
        </p15:guide>
        <p15:guide id="22" orient="horz" pos="141" userDrawn="1">
          <p15:clr>
            <a:srgbClr val="F26B43"/>
          </p15:clr>
        </p15:guide>
        <p15:guide id="23" orient="horz" pos="1544" userDrawn="1">
          <p15:clr>
            <a:srgbClr val="F26B43"/>
          </p15:clr>
        </p15:guide>
        <p15:guide id="24" orient="horz" pos="2102" userDrawn="1">
          <p15:clr>
            <a:srgbClr val="F26B43"/>
          </p15:clr>
        </p15:guide>
        <p15:guide id="25" orient="horz" pos="2658" userDrawn="1">
          <p15:clr>
            <a:srgbClr val="F26B43"/>
          </p15:clr>
        </p15:guide>
        <p15:guide id="26" orient="horz" pos="2934" userDrawn="1">
          <p15:clr>
            <a:srgbClr val="F26B43"/>
          </p15:clr>
        </p15:guide>
        <p15:guide id="27" orient="horz" pos="12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41.bin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66DAAE9-7EFB-410F-BBDE-41DD202958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950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Undertitel 22">
            <a:extLst>
              <a:ext uri="{FF2B5EF4-FFF2-40B4-BE49-F238E27FC236}">
                <a16:creationId xmlns:a16="http://schemas.microsoft.com/office/drawing/2014/main" id="{B09982CF-CC9B-41E7-8D96-E8F73E5087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id="{42B5D721-3DDB-4224-BCF3-049E0AEAE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Ansigtsøvelser</a:t>
            </a:r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B88EFBD-7567-4591-B3B6-7AB9CA9B09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#ALLE TIDERS ROSKILDE</a:t>
            </a:r>
          </a:p>
        </p:txBody>
      </p:sp>
    </p:spTree>
    <p:extLst>
      <p:ext uri="{BB962C8B-B14F-4D97-AF65-F5344CB8AC3E}">
        <p14:creationId xmlns:p14="http://schemas.microsoft.com/office/powerpoint/2010/main" val="21340619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340EE66-7CEA-402B-821C-2F754B9240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437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031C2B4A-FCA2-4F49-8CDA-A9A45A484E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Hvorfor lave ansigtsøvelser?</a:t>
            </a:r>
            <a:endParaRPr lang="da-DK" dirty="0"/>
          </a:p>
        </p:txBody>
      </p:sp>
      <p:sp>
        <p:nvSpPr>
          <p:cNvPr id="15" name="Pladsholder til tekst 14">
            <a:extLst>
              <a:ext uri="{FF2B5EF4-FFF2-40B4-BE49-F238E27FC236}">
                <a16:creationId xmlns:a16="http://schemas.microsoft.com/office/drawing/2014/main" id="{1D9A974D-0236-4EC7-85BA-C8120355B2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numCol="1"/>
          <a:lstStyle/>
          <a:p>
            <a:r>
              <a:rPr lang="da-DK" dirty="0"/>
              <a:t>Du træner ansigtets naturlige bevægelser for at skabe et symmetrisk udtryk og muskelforhold, som er vigtig for at fx kunne tygge maden og føre den rundt i munden.</a:t>
            </a:r>
          </a:p>
          <a:p>
            <a:r>
              <a:rPr lang="da-DK" dirty="0"/>
              <a:t>Øjets funktion er </a:t>
            </a:r>
            <a:r>
              <a:rPr lang="da-DK" dirty="0" smtClean="0"/>
              <a:t>vigtig, </a:t>
            </a:r>
            <a:r>
              <a:rPr lang="da-DK" dirty="0"/>
              <a:t>fx når du tager bad, så du ikke får sæbe i øjnene. Når du blinker med øjet, sker det automatisk for at rense øjet og for at undgå tørhed.</a:t>
            </a:r>
          </a:p>
          <a:p>
            <a:r>
              <a:rPr lang="da-DK" dirty="0"/>
              <a:t>Tungen er </a:t>
            </a:r>
            <a:r>
              <a:rPr lang="da-DK" dirty="0" smtClean="0"/>
              <a:t>vigtig at træne </a:t>
            </a:r>
            <a:r>
              <a:rPr lang="da-DK" dirty="0"/>
              <a:t>for at kunne samle maden i munden og </a:t>
            </a:r>
            <a:r>
              <a:rPr lang="da-DK" dirty="0" smtClean="0"/>
              <a:t>synke </a:t>
            </a:r>
            <a:r>
              <a:rPr lang="da-DK" dirty="0"/>
              <a:t>den. Tungen bruger du også til at rense munden med og få god mundhygiejne</a:t>
            </a:r>
            <a:r>
              <a:rPr lang="da-DK" dirty="0" smtClean="0"/>
              <a:t>.</a:t>
            </a:r>
            <a:endParaRPr lang="da-DK" dirty="0"/>
          </a:p>
          <a:p>
            <a:r>
              <a:rPr lang="da-DK" dirty="0"/>
              <a:t>Vi </a:t>
            </a:r>
            <a:r>
              <a:rPr lang="da-DK" dirty="0" smtClean="0"/>
              <a:t>anbefaler, </a:t>
            </a:r>
            <a:r>
              <a:rPr lang="da-DK" dirty="0"/>
              <a:t>at du laver dine øvelser 3 gange dagligt, morgen, middag og aften. Dette for at opnå størst mulig effekt og bedring af din ansigtsmuskulatur.</a:t>
            </a:r>
          </a:p>
          <a:p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6"/>
          </p:nvPr>
        </p:nvSpPr>
        <p:spPr>
          <a:xfrm>
            <a:off x="452438" y="3104707"/>
            <a:ext cx="2665412" cy="224281"/>
          </a:xfrm>
        </p:spPr>
        <p:txBody>
          <a:bodyPr/>
          <a:lstStyle/>
          <a:p>
            <a:r>
              <a:rPr lang="da-DK" dirty="0" smtClean="0"/>
              <a:t>Foto: </a:t>
            </a:r>
            <a:r>
              <a:rPr lang="da-DK" dirty="0" err="1" smtClean="0"/>
              <a:t>Colourbox</a:t>
            </a:r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94B68FC-C0E1-4A50-929D-CB3AD751B79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4591050" y="7121525"/>
            <a:ext cx="284162" cy="212725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2</a:t>
            </a:fld>
            <a:endParaRPr lang="da-DK" dirty="0"/>
          </a:p>
        </p:txBody>
      </p:sp>
      <p:pic>
        <p:nvPicPr>
          <p:cNvPr id="5" name="Pladsholder til billede 4"/>
          <p:cNvPicPr>
            <a:picLocks noGrp="1" noChangeAspect="1"/>
          </p:cNvPicPr>
          <p:nvPr>
            <p:ph type="pic" sz="quarter" idx="15"/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84" b="1068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502970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C55FDD-98F7-40E5-B775-B90AF10929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3733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1408EC4-A082-4DEF-94ED-B829014A0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14" name="Pladsholder til tekst 13">
            <a:extLst>
              <a:ext uri="{FF2B5EF4-FFF2-40B4-BE49-F238E27FC236}">
                <a16:creationId xmlns:a16="http://schemas.microsoft.com/office/drawing/2014/main" id="{CC0463EC-6DE6-48FB-9E72-10880CFEE4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 smtClean="0"/>
              <a:t>Øvelser for øjne og næse </a:t>
            </a:r>
            <a:endParaRPr lang="da-DK" dirty="0"/>
          </a:p>
        </p:txBody>
      </p:sp>
      <p:sp>
        <p:nvSpPr>
          <p:cNvPr id="15" name="Pladsholder til tekst 14">
            <a:extLst>
              <a:ext uri="{FF2B5EF4-FFF2-40B4-BE49-F238E27FC236}">
                <a16:creationId xmlns:a16="http://schemas.microsoft.com/office/drawing/2014/main" id="{D41C14DC-5E77-472F-B655-E58807488A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5613" y="890588"/>
            <a:ext cx="4420036" cy="6016204"/>
          </a:xfrm>
        </p:spPr>
        <p:txBody>
          <a:bodyPr numCol="2">
            <a:normAutofit/>
          </a:bodyPr>
          <a:lstStyle/>
          <a:p>
            <a:endParaRPr lang="da-DK" dirty="0" smtClean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r>
              <a:rPr lang="da-DK" dirty="0" smtClean="0"/>
              <a:t>Løft </a:t>
            </a:r>
            <a:r>
              <a:rPr lang="da-DK" dirty="0"/>
              <a:t>øjenbrynene og sænk</a:t>
            </a:r>
          </a:p>
          <a:p>
            <a:r>
              <a:rPr lang="da-DK" dirty="0"/>
              <a:t>dem igen</a:t>
            </a:r>
            <a:r>
              <a:rPr lang="da-DK" dirty="0" smtClean="0"/>
              <a:t>.</a:t>
            </a:r>
          </a:p>
          <a:p>
            <a:endParaRPr lang="da-DK" dirty="0" smtClean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r>
              <a:rPr lang="da-DK" dirty="0" smtClean="0"/>
              <a:t>Luk </a:t>
            </a:r>
            <a:r>
              <a:rPr lang="da-DK" dirty="0"/>
              <a:t>øjnene og åben øjnene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r>
              <a:rPr lang="da-DK" dirty="0"/>
              <a:t>Rynk brynene og se vred ud. </a:t>
            </a:r>
            <a:endParaRPr lang="da-DK" dirty="0" smtClean="0"/>
          </a:p>
          <a:p>
            <a:r>
              <a:rPr lang="da-DK" dirty="0" smtClean="0"/>
              <a:t>Slap </a:t>
            </a:r>
            <a:r>
              <a:rPr lang="da-DK" dirty="0"/>
              <a:t>af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pPr algn="r"/>
            <a:r>
              <a:rPr lang="da-DK" dirty="0"/>
              <a:t>Knib øjnene sammen.</a:t>
            </a:r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pPr algn="r"/>
            <a:r>
              <a:rPr lang="da-DK" dirty="0"/>
              <a:t>Blink skiftevis med øjnene</a:t>
            </a:r>
            <a:r>
              <a:rPr lang="da-DK" dirty="0" smtClean="0"/>
              <a:t>.			</a:t>
            </a:r>
          </a:p>
          <a:p>
            <a:pPr algn="r"/>
            <a:endParaRPr lang="da-DK" dirty="0"/>
          </a:p>
          <a:p>
            <a:pPr algn="r"/>
            <a:endParaRPr lang="da-DK" dirty="0" smtClean="0"/>
          </a:p>
          <a:p>
            <a:pPr algn="r"/>
            <a:endParaRPr lang="da-DK" dirty="0"/>
          </a:p>
          <a:p>
            <a:pPr algn="r"/>
            <a:endParaRPr lang="da-DK" dirty="0" smtClean="0"/>
          </a:p>
          <a:p>
            <a:pPr algn="r"/>
            <a:endParaRPr lang="da-DK" dirty="0"/>
          </a:p>
          <a:p>
            <a:pPr algn="r"/>
            <a:endParaRPr lang="da-DK" dirty="0" smtClean="0"/>
          </a:p>
          <a:p>
            <a:pPr algn="r"/>
            <a:endParaRPr lang="da-DK" dirty="0"/>
          </a:p>
          <a:p>
            <a:pPr algn="r"/>
            <a:endParaRPr lang="da-DK" dirty="0" smtClean="0"/>
          </a:p>
          <a:p>
            <a:pPr algn="r"/>
            <a:endParaRPr lang="da-DK" dirty="0"/>
          </a:p>
          <a:p>
            <a:pPr algn="r"/>
            <a:r>
              <a:rPr lang="da-DK" dirty="0" smtClean="0"/>
              <a:t>              Rynk </a:t>
            </a:r>
            <a:r>
              <a:rPr lang="da-DK" dirty="0"/>
              <a:t>på næsen. </a:t>
            </a:r>
          </a:p>
        </p:txBody>
      </p:sp>
      <p:pic>
        <p:nvPicPr>
          <p:cNvPr id="3" name="Billed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3442" y="3124461"/>
            <a:ext cx="1121761" cy="1310754"/>
          </a:xfrm>
          <a:prstGeom prst="rect">
            <a:avLst/>
          </a:prstGeom>
        </p:spPr>
      </p:pic>
      <p:pic>
        <p:nvPicPr>
          <p:cNvPr id="5" name="Billed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212" y="5029476"/>
            <a:ext cx="1024217" cy="1322947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972" y="967192"/>
            <a:ext cx="1054699" cy="1286367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99771" y="967192"/>
            <a:ext cx="1091279" cy="1298561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92533" y="3121343"/>
            <a:ext cx="1115665" cy="1347333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87577" y="5033720"/>
            <a:ext cx="1115665" cy="132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444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b="1" dirty="0"/>
              <a:t>Øvelser for kinder og mund</a:t>
            </a:r>
          </a:p>
          <a:p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>
          <a:xfrm>
            <a:off x="459939" y="890588"/>
            <a:ext cx="4420036" cy="6016204"/>
          </a:xfrm>
        </p:spPr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r>
              <a:rPr lang="da-DK" dirty="0" smtClean="0"/>
              <a:t>Pust </a:t>
            </a:r>
            <a:r>
              <a:rPr lang="da-DK" dirty="0"/>
              <a:t>kinderne op og hold på luften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 smtClean="0"/>
          </a:p>
          <a:p>
            <a:r>
              <a:rPr lang="da-DK" dirty="0" smtClean="0"/>
              <a:t>Træk </a:t>
            </a:r>
            <a:r>
              <a:rPr lang="da-DK" dirty="0"/>
              <a:t>munden skiftevis mod højre og venstre side. Du skal ikke bevæge kæben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r>
              <a:rPr lang="da-DK" dirty="0"/>
              <a:t>Pust kinderne op. </a:t>
            </a:r>
          </a:p>
          <a:p>
            <a:r>
              <a:rPr lang="da-DK" dirty="0"/>
              <a:t>Flyt luften fra side til side.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pPr algn="r"/>
            <a:r>
              <a:rPr lang="da-DK" dirty="0"/>
              <a:t>  Vis tænder i </a:t>
            </a:r>
            <a:r>
              <a:rPr lang="da-DK" dirty="0" smtClean="0"/>
              <a:t>undermunden</a:t>
            </a:r>
            <a:r>
              <a:rPr lang="da-DK" dirty="0"/>
              <a:t>.</a:t>
            </a:r>
          </a:p>
          <a:p>
            <a:endParaRPr lang="da-DK" dirty="0" smtClean="0"/>
          </a:p>
          <a:p>
            <a:endParaRPr lang="da-DK" dirty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pPr algn="r"/>
            <a:r>
              <a:rPr lang="da-DK" dirty="0" smtClean="0"/>
              <a:t>Vis </a:t>
            </a:r>
            <a:r>
              <a:rPr lang="da-DK" dirty="0"/>
              <a:t>tænder i overmunden.</a:t>
            </a:r>
          </a:p>
          <a:p>
            <a:endParaRPr lang="da-DK" dirty="0" smtClean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739" y="2918971"/>
            <a:ext cx="1079086" cy="1304657"/>
          </a:xfrm>
          <a:prstGeom prst="rect">
            <a:avLst/>
          </a:prstGeom>
        </p:spPr>
      </p:pic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029" y="967897"/>
            <a:ext cx="1060796" cy="1310754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6949" y="938530"/>
            <a:ext cx="1012024" cy="1322947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858" y="5047765"/>
            <a:ext cx="1126141" cy="1310754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48064" y="2918971"/>
            <a:ext cx="1049794" cy="1304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900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Øvelser for mund og kæbe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>
          <a:xfrm>
            <a:off x="459939" y="890588"/>
            <a:ext cx="4420036" cy="6016204"/>
          </a:xfrm>
        </p:spPr>
        <p:txBody>
          <a:bodyPr>
            <a:normAutofit/>
          </a:bodyPr>
          <a:lstStyle/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r>
              <a:rPr lang="da-DK" dirty="0" smtClean="0"/>
              <a:t>Gab </a:t>
            </a:r>
            <a:r>
              <a:rPr lang="da-DK" dirty="0"/>
              <a:t>højt op. Luk munden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 smtClean="0"/>
          </a:p>
          <a:p>
            <a:r>
              <a:rPr lang="da-DK" dirty="0"/>
              <a:t>Spids munden. </a:t>
            </a:r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/>
          </a:p>
          <a:p>
            <a:endParaRPr lang="da-DK" dirty="0" smtClean="0"/>
          </a:p>
          <a:p>
            <a:pPr algn="r"/>
            <a:r>
              <a:rPr lang="da-DK" dirty="0"/>
              <a:t> </a:t>
            </a:r>
            <a:r>
              <a:rPr lang="da-DK" dirty="0" smtClean="0"/>
              <a:t>Lav </a:t>
            </a:r>
            <a:r>
              <a:rPr lang="da-DK" dirty="0"/>
              <a:t>bred mund</a:t>
            </a:r>
            <a:r>
              <a:rPr lang="da-DK" dirty="0" smtClean="0"/>
              <a:t>. </a:t>
            </a:r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pPr algn="r"/>
            <a:endParaRPr lang="da-DK" dirty="0" smtClean="0"/>
          </a:p>
          <a:p>
            <a:pPr algn="r"/>
            <a:r>
              <a:rPr lang="da-DK" dirty="0" smtClean="0"/>
              <a:t>Stort </a:t>
            </a:r>
            <a:r>
              <a:rPr lang="da-DK" dirty="0"/>
              <a:t>smil. </a:t>
            </a:r>
          </a:p>
          <a:p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259" y="1521443"/>
            <a:ext cx="1114569" cy="1414395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254" y="4330788"/>
            <a:ext cx="1452577" cy="156820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0885" y="1521444"/>
            <a:ext cx="1292464" cy="1414395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3108" y="4330788"/>
            <a:ext cx="1290241" cy="155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688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T</a:t>
            </a:r>
            <a:r>
              <a:rPr lang="da-DK" dirty="0" smtClean="0"/>
              <a:t>ungeøvelser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>
          <a:xfrm>
            <a:off x="459939" y="889000"/>
            <a:ext cx="4420036" cy="6043428"/>
          </a:xfrm>
        </p:spPr>
        <p:txBody>
          <a:bodyPr>
            <a:normAutofit/>
          </a:bodyPr>
          <a:lstStyle/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r>
              <a:rPr lang="da-DK" dirty="0" smtClean="0"/>
              <a:t>Ræk </a:t>
            </a:r>
            <a:r>
              <a:rPr lang="da-DK" dirty="0"/>
              <a:t>tungen ud. </a:t>
            </a:r>
            <a:endParaRPr lang="da-DK" dirty="0" smtClean="0"/>
          </a:p>
          <a:p>
            <a:r>
              <a:rPr lang="da-DK" dirty="0" smtClean="0"/>
              <a:t>Flyt </a:t>
            </a:r>
            <a:r>
              <a:rPr lang="da-DK" dirty="0"/>
              <a:t>fra mundvig til mundvig</a:t>
            </a:r>
            <a:r>
              <a:rPr lang="da-DK" dirty="0" smtClean="0"/>
              <a:t>.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/>
          </a:p>
          <a:p>
            <a:r>
              <a:rPr lang="da-DK" dirty="0" smtClean="0"/>
              <a:t>Spil </a:t>
            </a:r>
            <a:r>
              <a:rPr lang="da-DK" dirty="0"/>
              <a:t>kinden ud med tungen til begge sider. </a:t>
            </a:r>
            <a:endParaRPr lang="da-DK" dirty="0" smtClean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r>
              <a:rPr lang="da-DK" dirty="0" smtClean="0"/>
              <a:t>Ræk </a:t>
            </a:r>
            <a:r>
              <a:rPr lang="da-DK" dirty="0"/>
              <a:t>tungen ud. </a:t>
            </a:r>
            <a:r>
              <a:rPr lang="da-DK" dirty="0" smtClean="0"/>
              <a:t>Forsøg </a:t>
            </a:r>
            <a:r>
              <a:rPr lang="da-DK" dirty="0"/>
              <a:t>at nå næsen.</a:t>
            </a:r>
            <a:endParaRPr lang="da-DK" dirty="0" smtClean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pPr algn="r"/>
            <a:endParaRPr lang="da-DK" dirty="0" smtClean="0"/>
          </a:p>
          <a:p>
            <a:pPr algn="r"/>
            <a:endParaRPr lang="da-DK" dirty="0" smtClean="0"/>
          </a:p>
          <a:p>
            <a:pPr algn="r"/>
            <a:r>
              <a:rPr lang="da-DK" dirty="0" smtClean="0"/>
              <a:t>  Før </a:t>
            </a:r>
            <a:r>
              <a:rPr lang="da-DK" dirty="0"/>
              <a:t>tungen rundt på tænderne og rens hver enkelt tand. Både inderside og yderside.</a:t>
            </a:r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pPr algn="r"/>
            <a:endParaRPr lang="da-DK" dirty="0"/>
          </a:p>
          <a:p>
            <a:pPr algn="r"/>
            <a:endParaRPr lang="da-DK" dirty="0" smtClean="0"/>
          </a:p>
          <a:p>
            <a:pPr algn="r"/>
            <a:r>
              <a:rPr lang="da-DK" dirty="0" smtClean="0"/>
              <a:t>Ræk </a:t>
            </a:r>
            <a:r>
              <a:rPr lang="da-DK" dirty="0"/>
              <a:t>tungen ud. </a:t>
            </a:r>
            <a:endParaRPr lang="da-DK" dirty="0" smtClean="0"/>
          </a:p>
          <a:p>
            <a:pPr algn="r"/>
            <a:r>
              <a:rPr lang="da-DK" dirty="0" smtClean="0"/>
              <a:t>Forsøg </a:t>
            </a:r>
            <a:r>
              <a:rPr lang="da-DK" dirty="0"/>
              <a:t>at nå hagen.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/>
          </a:p>
          <a:p>
            <a:endParaRPr lang="da-DK" dirty="0" smtClean="0"/>
          </a:p>
          <a:p>
            <a:pPr algn="r"/>
            <a:endParaRPr lang="da-DK" dirty="0" smtClean="0"/>
          </a:p>
          <a:p>
            <a:pPr algn="r"/>
            <a:endParaRPr lang="da-DK" dirty="0" smtClean="0"/>
          </a:p>
          <a:p>
            <a:pPr algn="r"/>
            <a:r>
              <a:rPr lang="da-DK" dirty="0" smtClean="0"/>
              <a:t>Slik </a:t>
            </a:r>
            <a:r>
              <a:rPr lang="da-DK" dirty="0"/>
              <a:t>dig om munden– begge veje rundt</a:t>
            </a:r>
            <a:r>
              <a:rPr lang="da-DK" dirty="0" smtClean="0"/>
              <a:t>.</a:t>
            </a:r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596" y="889000"/>
            <a:ext cx="1066892" cy="1335140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596" y="2930065"/>
            <a:ext cx="1036410" cy="1377815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3565" y="846325"/>
            <a:ext cx="1036410" cy="1377815"/>
          </a:xfrm>
          <a:prstGeom prst="rect">
            <a:avLst/>
          </a:prstGeom>
        </p:spPr>
      </p:pic>
      <p:pic>
        <p:nvPicPr>
          <p:cNvPr id="8" name="image28.jpeg" descr="tungeøvelse 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61646" y="5013805"/>
            <a:ext cx="1210310" cy="1332865"/>
          </a:xfrm>
          <a:prstGeom prst="rect">
            <a:avLst/>
          </a:prstGeom>
        </p:spPr>
      </p:pic>
      <p:pic>
        <p:nvPicPr>
          <p:cNvPr id="9" name="image31.jpeg" descr="tungeøvelse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548063" y="2930065"/>
            <a:ext cx="1053465" cy="1398270"/>
          </a:xfrm>
          <a:prstGeom prst="rect">
            <a:avLst/>
          </a:prstGeom>
        </p:spPr>
      </p:pic>
      <p:pic>
        <p:nvPicPr>
          <p:cNvPr id="10" name="image32.jpeg" descr="tungeøvelse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548063" y="5013805"/>
            <a:ext cx="1064260" cy="139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5552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 smtClean="0"/>
              <a:t>Noter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</p:txBody>
      </p:sp>
      <p:cxnSp>
        <p:nvCxnSpPr>
          <p:cNvPr id="6" name="Lige forbindelse 5"/>
          <p:cNvCxnSpPr/>
          <p:nvPr/>
        </p:nvCxnSpPr>
        <p:spPr>
          <a:xfrm>
            <a:off x="680484" y="1616149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Lige forbindelse 6"/>
          <p:cNvCxnSpPr/>
          <p:nvPr/>
        </p:nvCxnSpPr>
        <p:spPr>
          <a:xfrm>
            <a:off x="680484" y="2082985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7"/>
          <p:cNvCxnSpPr/>
          <p:nvPr/>
        </p:nvCxnSpPr>
        <p:spPr>
          <a:xfrm>
            <a:off x="680484" y="2486542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ge forbindelse 8"/>
          <p:cNvCxnSpPr/>
          <p:nvPr/>
        </p:nvCxnSpPr>
        <p:spPr>
          <a:xfrm>
            <a:off x="680484" y="2895600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ge forbindelse 9"/>
          <p:cNvCxnSpPr/>
          <p:nvPr/>
        </p:nvCxnSpPr>
        <p:spPr>
          <a:xfrm>
            <a:off x="680484" y="3297939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ge forbindelse 10"/>
          <p:cNvCxnSpPr/>
          <p:nvPr/>
        </p:nvCxnSpPr>
        <p:spPr>
          <a:xfrm>
            <a:off x="680484" y="3772749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/>
          <p:cNvCxnSpPr/>
          <p:nvPr/>
        </p:nvCxnSpPr>
        <p:spPr>
          <a:xfrm>
            <a:off x="680484" y="4219575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ge forbindelse 12"/>
          <p:cNvCxnSpPr/>
          <p:nvPr/>
        </p:nvCxnSpPr>
        <p:spPr>
          <a:xfrm>
            <a:off x="680484" y="4657725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Lige forbindelse 13"/>
          <p:cNvCxnSpPr/>
          <p:nvPr/>
        </p:nvCxnSpPr>
        <p:spPr>
          <a:xfrm>
            <a:off x="680484" y="5032745"/>
            <a:ext cx="37958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9058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8D1ABC96-AD5A-4CF9-8360-C2BD2C0758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#ALLE TIDERS ROSKILD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9D69DC4-8380-46B8-A33A-9B1670131D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 b="1" dirty="0"/>
          </a:p>
          <a:p>
            <a:endParaRPr lang="da-DK" dirty="0"/>
          </a:p>
          <a:p>
            <a:endParaRPr lang="da-DK" dirty="0" smtClean="0"/>
          </a:p>
          <a:p>
            <a:r>
              <a:rPr lang="da-DK" dirty="0" smtClean="0"/>
              <a:t>Træningsafsnittet</a:t>
            </a:r>
          </a:p>
          <a:p>
            <a:r>
              <a:rPr lang="da-DK" dirty="0" smtClean="0"/>
              <a:t>Trekroner Centervej 41</a:t>
            </a:r>
            <a:endParaRPr lang="da-DK" dirty="0"/>
          </a:p>
          <a:p>
            <a:r>
              <a:rPr lang="da-DK" dirty="0"/>
              <a:t>4000 Roskilde</a:t>
            </a:r>
          </a:p>
          <a:p>
            <a:r>
              <a:rPr lang="da-DK" dirty="0"/>
              <a:t>Telefon: 46 31 </a:t>
            </a:r>
            <a:r>
              <a:rPr lang="da-DK" dirty="0" smtClean="0"/>
              <a:t>80 59</a:t>
            </a:r>
            <a:endParaRPr lang="da-DK" dirty="0"/>
          </a:p>
          <a:p>
            <a:r>
              <a:rPr lang="da-DK" dirty="0" err="1"/>
              <a:t>Email</a:t>
            </a:r>
            <a:r>
              <a:rPr lang="da-DK" dirty="0"/>
              <a:t>: </a:t>
            </a:r>
            <a:r>
              <a:rPr lang="da-DK" dirty="0" smtClean="0"/>
              <a:t>traening@roskilde.dk</a:t>
            </a:r>
            <a:endParaRPr lang="da-DK" dirty="0"/>
          </a:p>
          <a:p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76A212C-0BD9-46E4-9215-92AB4B4345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07527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5 pjece - Print selv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5 pjece" id="{B077AF56-A952-4F56-8094-6366FEBB6EC2}" vid="{099F282E-21E8-4958-9F2C-F6B8145CDAEC}"/>
    </a:ext>
  </a:extLst>
</a:theme>
</file>

<file path=ppt/theme/theme2.xml><?xml version="1.0" encoding="utf-8"?>
<a:theme xmlns:a="http://schemas.openxmlformats.org/drawingml/2006/main" name="A5 pjece - Til tryk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1400"/>
          </a:lnSpc>
          <a:defRPr sz="1000" dirty="0">
            <a:latin typeface="Aleo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5 pjece" id="{B077AF56-A952-4F56-8094-6366FEBB6EC2}" vid="{507C87FB-B881-4E8B-8F90-486FAD5F60A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5 Pjece</Template>
  <TotalTime>390</TotalTime>
  <Words>349</Words>
  <Application>Microsoft Office PowerPoint</Application>
  <PresentationFormat>Brugerdefineret</PresentationFormat>
  <Paragraphs>267</Paragraphs>
  <Slides>8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18" baseType="lpstr">
      <vt:lpstr>Aleo</vt:lpstr>
      <vt:lpstr>Arial</vt:lpstr>
      <vt:lpstr>Calibri</vt:lpstr>
      <vt:lpstr>Montserrat</vt:lpstr>
      <vt:lpstr>Montserrat Bold</vt:lpstr>
      <vt:lpstr>Montserrat Medium</vt:lpstr>
      <vt:lpstr>Montserrat SemiBold</vt:lpstr>
      <vt:lpstr>A5 pjece - Print selv</vt:lpstr>
      <vt:lpstr>A5 pjece - Til tryk</vt:lpstr>
      <vt:lpstr>think-cell Slide</vt:lpstr>
      <vt:lpstr>Ansigtsøvelser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Mia Karrebæk Juhler</dc:creator>
  <cp:lastModifiedBy>Lene Korsgaard</cp:lastModifiedBy>
  <cp:revision>24</cp:revision>
  <dcterms:created xsi:type="dcterms:W3CDTF">2021-06-03T11:44:05Z</dcterms:created>
  <dcterms:modified xsi:type="dcterms:W3CDTF">2022-05-16T11:49:56Z</dcterms:modified>
</cp:coreProperties>
</file>